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3" r:id="rId1"/>
  </p:sldMasterIdLst>
  <p:notesMasterIdLst>
    <p:notesMasterId r:id="rId10"/>
  </p:notesMasterIdLst>
  <p:handoutMasterIdLst>
    <p:handoutMasterId r:id="rId11"/>
  </p:handoutMasterIdLst>
  <p:sldIdLst>
    <p:sldId id="430" r:id="rId2"/>
    <p:sldId id="431" r:id="rId3"/>
    <p:sldId id="311" r:id="rId4"/>
    <p:sldId id="432" r:id="rId5"/>
    <p:sldId id="433" r:id="rId6"/>
    <p:sldId id="434" r:id="rId7"/>
    <p:sldId id="435" r:id="rId8"/>
    <p:sldId id="429" r:id="rId9"/>
  </p:sldIdLst>
  <p:sldSz cx="12192000" cy="6858000"/>
  <p:notesSz cx="6858000" cy="9144000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42"/>
    <a:srgbClr val="000000"/>
    <a:srgbClr val="0431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3" autoAdjust="0"/>
    <p:restoredTop sz="93557" autoAdjust="0"/>
  </p:normalViewPr>
  <p:slideViewPr>
    <p:cSldViewPr snapToGrid="0" showGuides="1">
      <p:cViewPr>
        <p:scale>
          <a:sx n="100" d="100"/>
          <a:sy n="100" d="100"/>
        </p:scale>
        <p:origin x="936" y="396"/>
      </p:cViewPr>
      <p:guideLst/>
    </p:cSldViewPr>
  </p:slideViewPr>
  <p:outlineViewPr>
    <p:cViewPr>
      <p:scale>
        <a:sx n="33" d="100"/>
        <a:sy n="33" d="100"/>
      </p:scale>
      <p:origin x="0" y="-59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0898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2C9555C-46DE-4406-8ABE-45349F5208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F3B590-57A4-4D61-9607-3C2EA36AB1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8CE87A-16FF-4C7D-8292-0CB980715C8B}" type="datetimeFigureOut">
              <a:rPr lang="de-DE" smtClean="0"/>
              <a:t>14.12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6DC5A1-1CCC-484A-AB24-DCA2F05D59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041CFA-48F6-4759-86C7-790FC637E9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2F6222-CCA6-4FA7-88E0-B7BAE53645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32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ECA62E-2216-4960-A875-4D2633F4A404}" type="datetimeFigureOut">
              <a:rPr lang="de-DE" smtClean="0"/>
              <a:t>14.1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F93703-73BA-47D5-8B02-C172375928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31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3.emf"/><Relationship Id="rId7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A11ADF3-A31B-4EDC-8300-3E710D63E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842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6">
            <a:extLst>
              <a:ext uri="{FF2B5EF4-FFF2-40B4-BE49-F238E27FC236}">
                <a16:creationId xmlns:a16="http://schemas.microsoft.com/office/drawing/2014/main" id="{EF473310-6F96-4F43-A21B-21F4329CDE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1" name="Titel 1">
            <a:extLst>
              <a:ext uri="{FF2B5EF4-FFF2-40B4-BE49-F238E27FC236}">
                <a16:creationId xmlns:a16="http://schemas.microsoft.com/office/drawing/2014/main" id="{4241266C-710C-4440-8C07-9EDA09237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B1A45644-0A0D-495F-9640-025D229258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672CF738-3D16-42E1-97DE-60D7B23DE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330942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67F0B-0D69-4F2E-A0A2-F8FA26E3BF7C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206329" y="1631156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5474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42F941-E76D-416A-AF33-65B53D3785A5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7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06329" y="1631156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16335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3431382"/>
            <a:ext cx="3571199" cy="2769394"/>
          </a:xfrm>
          <a:solidFill>
            <a:schemeClr val="bg2"/>
          </a:solidFill>
        </p:spPr>
        <p:txBody>
          <a:bodyPr wrap="square" lIns="180000" tIns="180000" bIns="180000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525504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FEB1C-484B-4899-98E6-EB362BE13A10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1115774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1115774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0390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AF896-8D1C-46DE-9E9E-9010894131BC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0632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06329" y="5689692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62737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CC76E-A77D-4F48-8F46-063559FB155D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312311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312311" y="5689692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4AF4E7F-828A-4F93-A224-CC37323F22E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8106303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62F2321-99BF-46DA-82FB-5C0D110A571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06303" y="5689693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5561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1F75B-8E06-41EA-9095-78DA6F8CBA18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19" y="1631156"/>
            <a:ext cx="11157742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4937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DCD38-B7CE-40BA-8A02-00BA6D6B4613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20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CAB6B1D-E17E-47DF-93D9-FB8A06ED58F2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206328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103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F881E-3DED-43D6-A417-A7C186EE56EA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7363752" cy="4569619"/>
          </a:xfrm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8AF47B9-8A91-4A40-8EEC-F1FF348CA6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400092CC-C52C-43A0-B095-9A4345B385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F7514CA-58B6-4149-8F50-89E095FEE6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8EA3E77-72F7-436C-81B1-2C534F9DE62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104863" y="1631156"/>
            <a:ext cx="3571199" cy="4569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478410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Rot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023A5-0DD9-4EDE-B3F8-AE8B566D171E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985FC13-022A-4A6C-8471-9677A9BF0B1E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9CD0F-6647-46B4-9F3B-E2446A352E8D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332B3A29-F89E-40B3-9284-D5FA2A1AC13E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152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8AAEB4-E335-41F2-8B59-BDA22239A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74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00" name="Bildplatzhalter 60">
            <a:extLst>
              <a:ext uri="{FF2B5EF4-FFF2-40B4-BE49-F238E27FC236}">
                <a16:creationId xmlns:a16="http://schemas.microsoft.com/office/drawing/2014/main" id="{93766078-34F5-4986-9D9B-648C76B00D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5" name="Titel 1">
            <a:extLst>
              <a:ext uri="{FF2B5EF4-FFF2-40B4-BE49-F238E27FC236}">
                <a16:creationId xmlns:a16="http://schemas.microsoft.com/office/drawing/2014/main" id="{5E72A545-D18A-4387-8A1E-ABB5A2C2A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106" name="Textplatzhalter 7">
            <a:extLst>
              <a:ext uri="{FF2B5EF4-FFF2-40B4-BE49-F238E27FC236}">
                <a16:creationId xmlns:a16="http://schemas.microsoft.com/office/drawing/2014/main" id="{80310260-E29F-4335-A559-D4992C1B94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1BD7CCEE-7BB6-421E-A2F7-578C84A24F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2498526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weiß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8416C23-A1C9-4A3C-A02C-B83D99060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550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FFFAF-2C94-4296-A519-F2AFC9B633BB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293409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214D8-8053-4DB4-874E-70E28250261A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8319" y="1631157"/>
            <a:ext cx="11157742" cy="4569619"/>
          </a:xfrm>
          <a:solidFill>
            <a:schemeClr val="accent4"/>
          </a:solidFill>
        </p:spPr>
        <p:txBody>
          <a:bodyPr wrap="square" lIns="540000" tIns="540000" rIns="540000" bIns="540000" anchor="ctr">
            <a:noAutofit/>
          </a:bodyPr>
          <a:lstStyle>
            <a:lvl1pPr algn="ctr">
              <a:defRPr sz="2000" i="1">
                <a:solidFill>
                  <a:srgbClr val="041E42"/>
                </a:solidFill>
              </a:defRPr>
            </a:lvl1pPr>
          </a:lstStyle>
          <a:p>
            <a:pPr lvl="0"/>
            <a:r>
              <a:rPr lang="de-DE" dirty="0"/>
              <a:t>„Mastertextformat bearbeiten“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376411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platzhalter 167">
            <a:extLst>
              <a:ext uri="{FF2B5EF4-FFF2-40B4-BE49-F238E27FC236}">
                <a16:creationId xmlns:a16="http://schemas.microsoft.com/office/drawing/2014/main" id="{68AB2348-B91F-4E68-BDE1-60ECCE02B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47" name="Bildplatzhalter 60">
            <a:extLst>
              <a:ext uri="{FF2B5EF4-FFF2-40B4-BE49-F238E27FC236}">
                <a16:creationId xmlns:a16="http://schemas.microsoft.com/office/drawing/2014/main" id="{A10C7922-6C2D-4F6D-A7A7-86380590F1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4" name="Textplatzhalter 64">
            <a:extLst>
              <a:ext uri="{FF2B5EF4-FFF2-40B4-BE49-F238E27FC236}">
                <a16:creationId xmlns:a16="http://schemas.microsoft.com/office/drawing/2014/main" id="{94E4DAD8-28C4-496D-803F-AF50BFF89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8" name="Grafik 147">
            <a:extLst>
              <a:ext uri="{FF2B5EF4-FFF2-40B4-BE49-F238E27FC236}">
                <a16:creationId xmlns:a16="http://schemas.microsoft.com/office/drawing/2014/main" id="{42C3E3B8-06E1-463A-8AD5-8EC3976C25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891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Hintergrun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5" name="Textplatzhalter 64">
            <a:extLst>
              <a:ext uri="{FF2B5EF4-FFF2-40B4-BE49-F238E27FC236}">
                <a16:creationId xmlns:a16="http://schemas.microsoft.com/office/drawing/2014/main" id="{40B8B35A-8E02-401D-BEA1-2F41C74672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932652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Lehrstuhl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48" name="Textfeld 147">
            <a:extLst>
              <a:ext uri="{FF2B5EF4-FFF2-40B4-BE49-F238E27FC236}">
                <a16:creationId xmlns:a16="http://schemas.microsoft.com/office/drawing/2014/main" id="{D9750AB8-856C-4383-A296-B5A99FB70B82}"/>
              </a:ext>
            </a:extLst>
          </p:cNvPr>
          <p:cNvSpPr txBox="1"/>
          <p:nvPr userDrawn="1"/>
        </p:nvSpPr>
        <p:spPr>
          <a:xfrm>
            <a:off x="2749252" y="4293124"/>
            <a:ext cx="8933159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f. Dr. Martin Matz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riedrich-Alexander-Universität Erlangen-Nürnbe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chbereich Wirtschafts- und Sozialwissenschaften | WiS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iso-is-kontakt@fau.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twitter.com/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smama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ww.is.rw.fau.de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CEDDA531-356A-426B-A7A1-987654E04957}"/>
              </a:ext>
            </a:extLst>
          </p:cNvPr>
          <p:cNvSpPr txBox="1"/>
          <p:nvPr userDrawn="1"/>
        </p:nvSpPr>
        <p:spPr>
          <a:xfrm>
            <a:off x="518317" y="1631156"/>
            <a:ext cx="11157745" cy="624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hrstuhl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ür Digital Industrial Service Systems</a:t>
            </a:r>
          </a:p>
        </p:txBody>
      </p:sp>
      <p:pic>
        <p:nvPicPr>
          <p:cNvPr id="158" name="Grafik 157" descr="Ein Bild, das Person, Mann, Anzug, Schlips enthält.&#10;&#10;Automatisch generierte Beschreibung">
            <a:extLst>
              <a:ext uri="{FF2B5EF4-FFF2-40B4-BE49-F238E27FC236}">
                <a16:creationId xmlns:a16="http://schemas.microsoft.com/office/drawing/2014/main" id="{E46ACB3E-65A4-4FF8-8469-37139C560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4"/>
          <a:stretch/>
        </p:blipFill>
        <p:spPr>
          <a:xfrm>
            <a:off x="606715" y="4381523"/>
            <a:ext cx="1731422" cy="1731418"/>
          </a:xfrm>
          <a:prstGeom prst="ellipse">
            <a:avLst/>
          </a:prstGeom>
          <a:ln w="12700">
            <a:noFill/>
          </a:ln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B542BB-D888-4F3E-BD65-23289067EBAD}"/>
              </a:ext>
            </a:extLst>
          </p:cNvPr>
          <p:cNvGrpSpPr/>
          <p:nvPr userDrawn="1"/>
        </p:nvGrpSpPr>
        <p:grpSpPr>
          <a:xfrm>
            <a:off x="2743303" y="5325676"/>
            <a:ext cx="272947" cy="862512"/>
            <a:chOff x="2743303" y="5141913"/>
            <a:chExt cx="331100" cy="1046275"/>
          </a:xfrm>
        </p:grpSpPr>
        <p:sp>
          <p:nvSpPr>
            <p:cNvPr id="151" name="Freeform 184">
              <a:extLst>
                <a:ext uri="{FF2B5EF4-FFF2-40B4-BE49-F238E27FC236}">
                  <a16:creationId xmlns:a16="http://schemas.microsoft.com/office/drawing/2014/main" id="{696DC01E-8FD7-43AF-AEA2-4B369A89CE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483" y="5556025"/>
              <a:ext cx="264408" cy="200319"/>
            </a:xfrm>
            <a:custGeom>
              <a:avLst/>
              <a:gdLst>
                <a:gd name="T0" fmla="*/ 0 w 497"/>
                <a:gd name="T1" fmla="*/ 358 h 404"/>
                <a:gd name="T2" fmla="*/ 25 w 497"/>
                <a:gd name="T3" fmla="*/ 359 h 404"/>
                <a:gd name="T4" fmla="*/ 151 w 497"/>
                <a:gd name="T5" fmla="*/ 316 h 404"/>
                <a:gd name="T6" fmla="*/ 92 w 497"/>
                <a:gd name="T7" fmla="*/ 295 h 404"/>
                <a:gd name="T8" fmla="*/ 56 w 497"/>
                <a:gd name="T9" fmla="*/ 245 h 404"/>
                <a:gd name="T10" fmla="*/ 75 w 497"/>
                <a:gd name="T11" fmla="*/ 247 h 404"/>
                <a:gd name="T12" fmla="*/ 102 w 497"/>
                <a:gd name="T13" fmla="*/ 243 h 404"/>
                <a:gd name="T14" fmla="*/ 43 w 497"/>
                <a:gd name="T15" fmla="*/ 208 h 404"/>
                <a:gd name="T16" fmla="*/ 20 w 497"/>
                <a:gd name="T17" fmla="*/ 143 h 404"/>
                <a:gd name="T18" fmla="*/ 20 w 497"/>
                <a:gd name="T19" fmla="*/ 142 h 404"/>
                <a:gd name="T20" fmla="*/ 66 w 497"/>
                <a:gd name="T21" fmla="*/ 155 h 404"/>
                <a:gd name="T22" fmla="*/ 33 w 497"/>
                <a:gd name="T23" fmla="*/ 119 h 404"/>
                <a:gd name="T24" fmla="*/ 21 w 497"/>
                <a:gd name="T25" fmla="*/ 70 h 404"/>
                <a:gd name="T26" fmla="*/ 35 w 497"/>
                <a:gd name="T27" fmla="*/ 19 h 404"/>
                <a:gd name="T28" fmla="*/ 128 w 497"/>
                <a:gd name="T29" fmla="*/ 94 h 404"/>
                <a:gd name="T30" fmla="*/ 245 w 497"/>
                <a:gd name="T31" fmla="*/ 125 h 404"/>
                <a:gd name="T32" fmla="*/ 242 w 497"/>
                <a:gd name="T33" fmla="*/ 102 h 404"/>
                <a:gd name="T34" fmla="*/ 272 w 497"/>
                <a:gd name="T35" fmla="*/ 30 h 404"/>
                <a:gd name="T36" fmla="*/ 344 w 497"/>
                <a:gd name="T37" fmla="*/ 0 h 404"/>
                <a:gd name="T38" fmla="*/ 418 w 497"/>
                <a:gd name="T39" fmla="*/ 33 h 404"/>
                <a:gd name="T40" fmla="*/ 483 w 497"/>
                <a:gd name="T41" fmla="*/ 8 h 404"/>
                <a:gd name="T42" fmla="*/ 438 w 497"/>
                <a:gd name="T43" fmla="*/ 64 h 404"/>
                <a:gd name="T44" fmla="*/ 497 w 497"/>
                <a:gd name="T45" fmla="*/ 48 h 404"/>
                <a:gd name="T46" fmla="*/ 446 w 497"/>
                <a:gd name="T47" fmla="*/ 101 h 404"/>
                <a:gd name="T48" fmla="*/ 446 w 497"/>
                <a:gd name="T49" fmla="*/ 114 h 404"/>
                <a:gd name="T50" fmla="*/ 434 w 497"/>
                <a:gd name="T51" fmla="*/ 196 h 404"/>
                <a:gd name="T52" fmla="*/ 398 w 497"/>
                <a:gd name="T53" fmla="*/ 274 h 404"/>
                <a:gd name="T54" fmla="*/ 339 w 497"/>
                <a:gd name="T55" fmla="*/ 340 h 404"/>
                <a:gd name="T56" fmla="*/ 258 w 497"/>
                <a:gd name="T57" fmla="*/ 386 h 404"/>
                <a:gd name="T58" fmla="*/ 156 w 497"/>
                <a:gd name="T59" fmla="*/ 404 h 404"/>
                <a:gd name="T60" fmla="*/ 0 w 497"/>
                <a:gd name="T61" fmla="*/ 35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7" h="404">
                  <a:moveTo>
                    <a:pt x="0" y="358"/>
                  </a:moveTo>
                  <a:cubicBezTo>
                    <a:pt x="8" y="359"/>
                    <a:pt x="16" y="359"/>
                    <a:pt x="25" y="359"/>
                  </a:cubicBezTo>
                  <a:cubicBezTo>
                    <a:pt x="72" y="359"/>
                    <a:pt x="114" y="345"/>
                    <a:pt x="151" y="316"/>
                  </a:cubicBezTo>
                  <a:cubicBezTo>
                    <a:pt x="129" y="315"/>
                    <a:pt x="109" y="309"/>
                    <a:pt x="92" y="295"/>
                  </a:cubicBezTo>
                  <a:cubicBezTo>
                    <a:pt x="74" y="282"/>
                    <a:pt x="62" y="266"/>
                    <a:pt x="56" y="245"/>
                  </a:cubicBezTo>
                  <a:cubicBezTo>
                    <a:pt x="63" y="246"/>
                    <a:pt x="69" y="247"/>
                    <a:pt x="75" y="247"/>
                  </a:cubicBezTo>
                  <a:cubicBezTo>
                    <a:pt x="84" y="247"/>
                    <a:pt x="93" y="246"/>
                    <a:pt x="102" y="243"/>
                  </a:cubicBezTo>
                  <a:cubicBezTo>
                    <a:pt x="78" y="238"/>
                    <a:pt x="59" y="227"/>
                    <a:pt x="43" y="208"/>
                  </a:cubicBezTo>
                  <a:cubicBezTo>
                    <a:pt x="28" y="190"/>
                    <a:pt x="20" y="168"/>
                    <a:pt x="20" y="143"/>
                  </a:cubicBezTo>
                  <a:lnTo>
                    <a:pt x="20" y="142"/>
                  </a:lnTo>
                  <a:cubicBezTo>
                    <a:pt x="35" y="150"/>
                    <a:pt x="50" y="154"/>
                    <a:pt x="66" y="155"/>
                  </a:cubicBezTo>
                  <a:cubicBezTo>
                    <a:pt x="52" y="146"/>
                    <a:pt x="41" y="134"/>
                    <a:pt x="33" y="119"/>
                  </a:cubicBezTo>
                  <a:cubicBezTo>
                    <a:pt x="25" y="104"/>
                    <a:pt x="21" y="88"/>
                    <a:pt x="21" y="70"/>
                  </a:cubicBezTo>
                  <a:cubicBezTo>
                    <a:pt x="21" y="52"/>
                    <a:pt x="26" y="35"/>
                    <a:pt x="35" y="19"/>
                  </a:cubicBezTo>
                  <a:cubicBezTo>
                    <a:pt x="60" y="50"/>
                    <a:pt x="91" y="75"/>
                    <a:pt x="128" y="94"/>
                  </a:cubicBezTo>
                  <a:cubicBezTo>
                    <a:pt x="164" y="113"/>
                    <a:pt x="203" y="123"/>
                    <a:pt x="245" y="125"/>
                  </a:cubicBezTo>
                  <a:cubicBezTo>
                    <a:pt x="243" y="117"/>
                    <a:pt x="242" y="110"/>
                    <a:pt x="242" y="102"/>
                  </a:cubicBezTo>
                  <a:cubicBezTo>
                    <a:pt x="242" y="74"/>
                    <a:pt x="252" y="50"/>
                    <a:pt x="272" y="30"/>
                  </a:cubicBezTo>
                  <a:cubicBezTo>
                    <a:pt x="292" y="10"/>
                    <a:pt x="316" y="0"/>
                    <a:pt x="344" y="0"/>
                  </a:cubicBezTo>
                  <a:cubicBezTo>
                    <a:pt x="373" y="0"/>
                    <a:pt x="398" y="11"/>
                    <a:pt x="418" y="33"/>
                  </a:cubicBezTo>
                  <a:cubicBezTo>
                    <a:pt x="441" y="28"/>
                    <a:pt x="463" y="20"/>
                    <a:pt x="483" y="8"/>
                  </a:cubicBezTo>
                  <a:cubicBezTo>
                    <a:pt x="475" y="32"/>
                    <a:pt x="460" y="51"/>
                    <a:pt x="438" y="64"/>
                  </a:cubicBezTo>
                  <a:cubicBezTo>
                    <a:pt x="458" y="62"/>
                    <a:pt x="477" y="57"/>
                    <a:pt x="497" y="48"/>
                  </a:cubicBezTo>
                  <a:cubicBezTo>
                    <a:pt x="483" y="69"/>
                    <a:pt x="465" y="86"/>
                    <a:pt x="446" y="101"/>
                  </a:cubicBezTo>
                  <a:cubicBezTo>
                    <a:pt x="446" y="104"/>
                    <a:pt x="446" y="108"/>
                    <a:pt x="446" y="114"/>
                  </a:cubicBezTo>
                  <a:cubicBezTo>
                    <a:pt x="446" y="141"/>
                    <a:pt x="442" y="169"/>
                    <a:pt x="434" y="196"/>
                  </a:cubicBezTo>
                  <a:cubicBezTo>
                    <a:pt x="426" y="223"/>
                    <a:pt x="414" y="249"/>
                    <a:pt x="398" y="274"/>
                  </a:cubicBezTo>
                  <a:cubicBezTo>
                    <a:pt x="381" y="299"/>
                    <a:pt x="362" y="321"/>
                    <a:pt x="339" y="340"/>
                  </a:cubicBezTo>
                  <a:cubicBezTo>
                    <a:pt x="317" y="360"/>
                    <a:pt x="290" y="375"/>
                    <a:pt x="258" y="386"/>
                  </a:cubicBezTo>
                  <a:cubicBezTo>
                    <a:pt x="226" y="398"/>
                    <a:pt x="193" y="404"/>
                    <a:pt x="156" y="404"/>
                  </a:cubicBezTo>
                  <a:cubicBezTo>
                    <a:pt x="99" y="404"/>
                    <a:pt x="47" y="388"/>
                    <a:pt x="0" y="358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pic>
          <p:nvPicPr>
            <p:cNvPr id="6" name="Grafik 5" descr="Erdkugel: Afrika und Europa mit einfarbiger Füllung">
              <a:extLst>
                <a:ext uri="{FF2B5EF4-FFF2-40B4-BE49-F238E27FC236}">
                  <a16:creationId xmlns:a16="http://schemas.microsoft.com/office/drawing/2014/main" id="{031BDD71-CF2E-474E-A9AF-915F1830ED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43303" y="5857088"/>
              <a:ext cx="331100" cy="331100"/>
            </a:xfrm>
            <a:prstGeom prst="rect">
              <a:avLst/>
            </a:prstGeom>
          </p:spPr>
        </p:pic>
        <p:pic>
          <p:nvPicPr>
            <p:cNvPr id="161" name="Grafik 160" descr="E-Mail mit einfarbiger Füllung">
              <a:extLst>
                <a:ext uri="{FF2B5EF4-FFF2-40B4-BE49-F238E27FC236}">
                  <a16:creationId xmlns:a16="http://schemas.microsoft.com/office/drawing/2014/main" id="{2BC1E2C6-C0CE-41BD-B81D-4C7C3BBAF1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73483" y="5141913"/>
              <a:ext cx="264408" cy="2644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991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4. Dezember 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F8056C4-F1A1-4860-B863-70A38CCE20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4B92765-C038-4DB7-B6CF-33827BB87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48DD939-0764-4598-B8A8-5EF7FD589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0169AC75-2D8F-414A-A2F5-470DEC8B53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8F9E3F2-C660-4ABB-83AF-3F5B3E2F77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AB2683D-D5E7-45B9-9133-F4CFD483F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52E3AD3-9675-4713-A437-FEFA1B5400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852432A-5FDF-42C2-BC07-F1752012B8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B2468A8B-4816-458C-AEB6-53AB9CF88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2C0AC2-BCD1-47F5-99DB-35823E79AB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E5C8951-ED83-4B8D-A041-11DC6291DD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7D6B79FA-8C76-4CA9-AF55-F7541503EC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7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89249A36-CB58-4007-8E81-30FA75194B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953A9A61-99D0-44B5-89EB-1D1035F914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8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80B7F99-D2A6-486E-BB92-8192AB563E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C08D70F6-D151-42E1-8F5E-DD5ADD0927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1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34991AD2-EBFD-4358-9611-2BE7F693C7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6132B6E-46AD-4F19-ACEF-FC5E2EBEEE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9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5B29B58B-9C14-4145-95A8-C62AC51F1A6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6DB4F9-1F61-4B1E-8694-CF32F6ABEB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0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139CCA6-FA40-4FAD-991E-8F0D932F40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4ABC58A4-2FF6-4DD6-B7CE-07D57A9854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3D1D4D-3108-48AF-9002-E2787CA11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7A4DE60-6537-42AA-B80E-663634EF66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6F3326C-A71E-4096-84A9-CBF2623C8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E6C7796D-6ED1-4B91-AD58-8FB5EA6F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6D31599-AF4C-4469-80F6-AA369A20BF0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3383538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Trebbla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CB49CBC-F4F1-4727-AA52-334118E159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257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1" name="Grafik 100">
            <a:extLst>
              <a:ext uri="{FF2B5EF4-FFF2-40B4-BE49-F238E27FC236}">
                <a16:creationId xmlns:a16="http://schemas.microsoft.com/office/drawing/2014/main" id="{C44A4287-4BD1-4B84-9833-77C48593B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28775"/>
            <a:ext cx="12192000" cy="522922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BA40D48-5FB8-4B6E-9DD1-E2077FDD1880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8" name="Titel 1">
            <a:extLst>
              <a:ext uri="{FF2B5EF4-FFF2-40B4-BE49-F238E27FC236}">
                <a16:creationId xmlns:a16="http://schemas.microsoft.com/office/drawing/2014/main" id="{CD3FEBB4-C881-4BC8-8203-E29FFD0FB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737ED76-7187-4427-953B-A0E34AD10F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 rIns="0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pic>
        <p:nvPicPr>
          <p:cNvPr id="107" name="Grafik 106">
            <a:extLst>
              <a:ext uri="{FF2B5EF4-FFF2-40B4-BE49-F238E27FC236}">
                <a16:creationId xmlns:a16="http://schemas.microsoft.com/office/drawing/2014/main" id="{0C123BA0-CAA7-4613-B464-F66C26AE6EC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AD118C3-17CF-4F8A-AE25-53D239BC77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759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D0C8E-4653-4FE0-9AB6-B157E51E80B8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EAC195-0656-4779-BC2E-FA1D7D59C9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3EFC9BF-8EA1-44E6-B6BB-76B17C8A6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E74FCC8-4B63-4399-899A-BA278285B2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047C043-43BE-4074-B994-0187FDCF0D8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8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BAA0F45E-08EA-4F13-B73A-A36B1AD42E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881DADAD-AAC3-44AB-A6CB-49422AE2DF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1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D068CA3-B949-4604-ACDA-EA3A51006C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E47A9DDD-B457-4B59-9166-8068CA4E9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9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AB6475A4-B975-4203-9A27-00B415A5A2E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954B7FE0-BF09-4D28-A402-9A893D80A4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0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91DA9E5E-8D5C-4EDF-89F3-04C0F27A7B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482E22B8-3DB4-4A9D-AB29-48725670FC0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2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</p:spTree>
    <p:extLst>
      <p:ext uri="{BB962C8B-B14F-4D97-AF65-F5344CB8AC3E}">
        <p14:creationId xmlns:p14="http://schemas.microsoft.com/office/powerpoint/2010/main" val="4193233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BB78D-0F7C-433E-93C8-011F3F257B2F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  <p:sp>
        <p:nvSpPr>
          <p:cNvPr id="38" name="Bildplatzhalter 8">
            <a:extLst>
              <a:ext uri="{FF2B5EF4-FFF2-40B4-BE49-F238E27FC236}">
                <a16:creationId xmlns:a16="http://schemas.microsoft.com/office/drawing/2014/main" id="{3BDA1354-84E9-4109-84D5-62AFF93F32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A0D91CAF-F1F3-4347-829C-D634E9DA0C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6329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33303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 bwMode="inv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2875002"/>
            <a:ext cx="11157743" cy="1107996"/>
          </a:xfrm>
        </p:spPr>
        <p:txBody>
          <a:bodyPr anchor="ctr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Mehrzeilig mög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89B0C6-E378-43D9-87B6-F295F13B6DA2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40F781E3-735A-4333-AF8D-7842FE86295B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08A481D-2E1F-45DF-86E1-B64481B3202A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4" name="Grafik 143">
            <a:extLst>
              <a:ext uri="{FF2B5EF4-FFF2-40B4-BE49-F238E27FC236}">
                <a16:creationId xmlns:a16="http://schemas.microsoft.com/office/drawing/2014/main" id="{3CA445D2-E628-47F5-8A26-10F5CBE230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16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94B1E8-B150-47D8-BFC1-832FA1865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04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1115774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409702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10B988B-3F29-43AB-A28D-712935312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466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B17B1-4EF5-4E82-B64D-6D9D06630995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06329" y="1631156"/>
            <a:ext cx="5469732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633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5DED9-9AF1-49E6-842A-BFCE5BF99E9D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20" y="1631157"/>
            <a:ext cx="3568821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12780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BE42DCF-5B3A-4B71-B7EB-B7136921856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07241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226746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5AFDFCF-0983-4270-80C9-4D41CBE025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060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10" imgH="312" progId="TCLayout.ActiveDocument.1">
                  <p:embed/>
                </p:oleObj>
              </mc:Choice>
              <mc:Fallback>
                <p:oleObj name="think-cell Folie" r:id="rId28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999BA3-562C-4E45-8F3B-A023F450B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1581D5-332D-4C8E-AF45-43F518A6E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6"/>
            <a:ext cx="11157744" cy="456961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D440FC-859D-4521-8908-A802F3E53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4AF76AE-F8CA-4CAE-8890-6E3DCFB786A6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8C6C66-9703-4B53-BAF2-1F89587F3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34666"/>
            <a:ext cx="957450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FAB54-E254-4FCB-BB98-1E4D5A6D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2099" y="6634666"/>
            <a:ext cx="19396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9EA0DE-CCA1-4795-BE19-74C50E90E6A6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0272FF-60F7-4AF4-9CD6-0A04080EA9B4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7C2D4B7A-C06A-4E74-AFA2-1F145A18ADE3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00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4" r:id="rId2"/>
    <p:sldLayoutId id="2147483718" r:id="rId3"/>
    <p:sldLayoutId id="2147483734" r:id="rId4"/>
    <p:sldLayoutId id="2147483735" r:id="rId5"/>
    <p:sldLayoutId id="2147483697" r:id="rId6"/>
    <p:sldLayoutId id="2147483698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13" r:id="rId22"/>
    <p:sldLayoutId id="2147483736" r:id="rId23"/>
    <p:sldLayoutId id="2147483716" r:id="rId24"/>
    <p:sldLayoutId id="2147483737" r:id="rId2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41E4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7" userDrawn="1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  <p15:guide id="12" orient="horz" pos="24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CBCD50-D025-44A5-0B7B-35ED74441C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19D622-EB5D-5B2F-8523-6F1DC57D8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wischenpräsentation Team 6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E29696-8B3B-D5C2-6D66-4A814D9C5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orschungsmethodisches Semina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42CBB4-9FB5-3B6D-26E6-55439CA998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</p:spTree>
    <p:extLst>
      <p:ext uri="{BB962C8B-B14F-4D97-AF65-F5344CB8AC3E}">
        <p14:creationId xmlns:p14="http://schemas.microsoft.com/office/powerpoint/2010/main" val="40019540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4C28D-2E53-7C81-9018-F3C4A48D5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4. Dezember 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529BE8-B3E7-6F8E-75C5-E65F23C88A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B0CA80-A177-60A5-F0A8-6410CA27F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87EB5A-FD3F-8C3E-33D0-00BA8FFB2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12314F-BD31-EFD7-402A-509482CD85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7FE7A72-F751-9E00-F109-616FB85D85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Ziel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D5C2863-C71D-B54E-19B5-D17F07F19B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805D365-DE8E-51EA-0018-845BD65916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Artefa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72ECE4-D1A1-A160-3513-79025AA1E3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2CCD047-C9CF-DCCE-4429-9D77B6E359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99FB67-9CB1-EBFC-4E29-18ED1CC8C7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1BFF1B8-E9E4-E9E0-8DD0-7541652E22D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92B3A9C-FA8A-CCA1-1A08-C69E4B59D0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F861F90-634E-8C85-1B42-5E330A183E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BA697FB-7A87-3639-651E-7556D351D3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E637F4E-34B0-A4A0-2810-12AB1953178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1F56FD9-A107-74EB-35C3-72B4F7CEFB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C8D2C56-7C56-D2F3-299B-67F7DC5B64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AD5ED97-9F11-D019-2596-9B72F830817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3ED5742-F501-AF35-1039-C509D6A26F8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987888D-70C8-6966-6A32-DC7F46E8EB7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6114C7F6-7916-1BD3-B429-B6769D9FA68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708C651-06CC-8BA5-C401-7ACFC143A60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17CBE31-DA95-4448-0CB2-E7FE8FFAC0C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9A3FC57-30F2-10E8-6326-FC886F75ED2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9C2085C7-3F89-C998-07CB-68D4137CB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384772B-B2B9-B042-FBC1-1B28F24901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Zwischenpräsentatio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94A1D7C7-9989-30F4-F7C8-81B04DE00E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1F84E59-CB57-F365-7715-31B5D0CED0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39916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Artefak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4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Prof. Dr. Martin Matzner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95345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entwickeln für unsere Forschungsfrage ein Artefak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8571CD2-1CE2-C8F1-84E4-1DCA3458CF9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659" y="1825604"/>
            <a:ext cx="9682681" cy="3838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7187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müssen Metainformationen über die Daten übergeben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put Seit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760B804-F59D-546B-7E68-B4B8B6E662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" t="27110" r="71732" b="7347"/>
          <a:stretch/>
        </p:blipFill>
        <p:spPr>
          <a:xfrm>
            <a:off x="8416956" y="2123502"/>
            <a:ext cx="3775044" cy="3474034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4EFD57F-C9DA-122F-0586-899E61A9EE4F}"/>
              </a:ext>
            </a:extLst>
          </p:cNvPr>
          <p:cNvSpPr txBox="1"/>
          <p:nvPr/>
        </p:nvSpPr>
        <p:spPr>
          <a:xfrm>
            <a:off x="515937" y="1927881"/>
            <a:ext cx="109895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text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344F4E8-BB62-ED84-C538-FDDE373A3F77}"/>
              </a:ext>
            </a:extLst>
          </p:cNvPr>
          <p:cNvSpPr txBox="1"/>
          <p:nvPr/>
        </p:nvSpPr>
        <p:spPr>
          <a:xfrm>
            <a:off x="515937" y="3429000"/>
            <a:ext cx="132125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A12D57-EAD4-BDEC-432F-9EC5F4666622}"/>
              </a:ext>
            </a:extLst>
          </p:cNvPr>
          <p:cNvSpPr txBox="1"/>
          <p:nvPr/>
        </p:nvSpPr>
        <p:spPr>
          <a:xfrm>
            <a:off x="671118" y="2340456"/>
            <a:ext cx="435388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Art des Datensatzes (z.B.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Kreditvergabe)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9E5031C-8BD0-B825-1261-11893E18CB39}"/>
              </a:ext>
            </a:extLst>
          </p:cNvPr>
          <p:cNvSpPr txBox="1"/>
          <p:nvPr/>
        </p:nvSpPr>
        <p:spPr>
          <a:xfrm>
            <a:off x="671118" y="2624662"/>
            <a:ext cx="201335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Kritische Spalte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5A53A07-0CED-A9D5-22AE-7B325DF7759C}"/>
              </a:ext>
            </a:extLst>
          </p:cNvPr>
          <p:cNvSpPr txBox="1"/>
          <p:nvPr/>
        </p:nvSpPr>
        <p:spPr>
          <a:xfrm>
            <a:off x="671118" y="2908868"/>
            <a:ext cx="2130805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Irrelevante Spalt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5CCB3162-E1E1-3DAD-FE36-17E65FBE6868}"/>
              </a:ext>
            </a:extLst>
          </p:cNvPr>
          <p:cNvSpPr txBox="1"/>
          <p:nvPr/>
        </p:nvSpPr>
        <p:spPr>
          <a:xfrm>
            <a:off x="671118" y="3864015"/>
            <a:ext cx="2637941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Tabellarischer Datensatz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463B489-EE07-3F29-1662-A74760C75AFE}"/>
              </a:ext>
            </a:extLst>
          </p:cNvPr>
          <p:cNvSpPr txBox="1"/>
          <p:nvPr/>
        </p:nvSpPr>
        <p:spPr>
          <a:xfrm>
            <a:off x="671118" y="4155961"/>
            <a:ext cx="310392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Idealerweise im CSV-Form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20999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zwei mögliche Output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utput Seit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4EFD57F-C9DA-122F-0586-899E61A9EE4F}"/>
              </a:ext>
            </a:extLst>
          </p:cNvPr>
          <p:cNvSpPr txBox="1"/>
          <p:nvPr/>
        </p:nvSpPr>
        <p:spPr>
          <a:xfrm>
            <a:off x="515937" y="1927881"/>
            <a:ext cx="309971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 u="sng" dirty="0">
                <a:solidFill>
                  <a:prstClr val="black"/>
                </a:solidFill>
                <a:latin typeface="Arial"/>
              </a:rPr>
              <a:t>„</a:t>
            </a:r>
            <a:r>
              <a:rPr lang="de-DE" sz="2000" u="sng" dirty="0" err="1">
                <a:solidFill>
                  <a:prstClr val="black"/>
                </a:solidFill>
                <a:latin typeface="Arial"/>
              </a:rPr>
              <a:t>No</a:t>
            </a:r>
            <a:r>
              <a:rPr lang="de-DE" sz="2000" u="sng" dirty="0">
                <a:solidFill>
                  <a:prstClr val="black"/>
                </a:solidFill>
                <a:latin typeface="Arial"/>
              </a:rPr>
              <a:t> Bias“ Meldung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344F4E8-BB62-ED84-C538-FDDE373A3F77}"/>
              </a:ext>
            </a:extLst>
          </p:cNvPr>
          <p:cNvSpPr txBox="1"/>
          <p:nvPr/>
        </p:nvSpPr>
        <p:spPr>
          <a:xfrm>
            <a:off x="515936" y="3085755"/>
            <a:ext cx="317521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Bias gefunden“ Meldung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A12D57-EAD4-BDEC-432F-9EC5F4666622}"/>
              </a:ext>
            </a:extLst>
          </p:cNvPr>
          <p:cNvSpPr txBox="1"/>
          <p:nvPr/>
        </p:nvSpPr>
        <p:spPr>
          <a:xfrm>
            <a:off x="671118" y="2327691"/>
            <a:ext cx="4110607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Kommt, wenn keine Verzerrungen gefunden wu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DF21BCF-43F0-5089-DB5B-B0068181B94A}"/>
              </a:ext>
            </a:extLst>
          </p:cNvPr>
          <p:cNvGrpSpPr/>
          <p:nvPr/>
        </p:nvGrpSpPr>
        <p:grpSpPr>
          <a:xfrm>
            <a:off x="6971250" y="1972623"/>
            <a:ext cx="5037085" cy="3537413"/>
            <a:chOff x="6542414" y="1777979"/>
            <a:chExt cx="5465922" cy="3838574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BE257EE2-A2AB-A0FB-BB4B-678649965F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000"/>
            <a:stretch/>
          </p:blipFill>
          <p:spPr>
            <a:xfrm>
              <a:off x="7166996" y="1777979"/>
              <a:ext cx="4841340" cy="3838574"/>
            </a:xfrm>
            <a:prstGeom prst="rect">
              <a:avLst/>
            </a:prstGeom>
          </p:spPr>
        </p:pic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6D6B8A37-187A-B7CC-ACEB-5F8475D0FDDF}"/>
                </a:ext>
              </a:extLst>
            </p:cNvPr>
            <p:cNvSpPr/>
            <p:nvPr/>
          </p:nvSpPr>
          <p:spPr>
            <a:xfrm>
              <a:off x="6542414" y="2872237"/>
              <a:ext cx="791836" cy="23760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ABAE8B9C-1791-CAA0-88EC-757A3BAA3169}"/>
              </a:ext>
            </a:extLst>
          </p:cNvPr>
          <p:cNvSpPr txBox="1"/>
          <p:nvPr/>
        </p:nvSpPr>
        <p:spPr>
          <a:xfrm>
            <a:off x="515936" y="4243629"/>
            <a:ext cx="426578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fundene </a:t>
            </a:r>
            <a:r>
              <a:rPr kumimoji="0" lang="de-DE" sz="20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ases</a:t>
            </a: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nd Risikoquell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A0FDA5F-C19E-B1EA-E4C3-BAB01E7FF5EF}"/>
              </a:ext>
            </a:extLst>
          </p:cNvPr>
          <p:cNvSpPr txBox="1"/>
          <p:nvPr/>
        </p:nvSpPr>
        <p:spPr>
          <a:xfrm>
            <a:off x="671118" y="3526355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Kommt, wenn Verzerrungen gefunden wu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30E920C-798E-CF11-1F1B-E09B1590E0E3}"/>
              </a:ext>
            </a:extLst>
          </p:cNvPr>
          <p:cNvSpPr txBox="1"/>
          <p:nvPr/>
        </p:nvSpPr>
        <p:spPr>
          <a:xfrm>
            <a:off x="671117" y="4665595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Datei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0C84327-9ED2-7929-1CD3-C3A1498E481A}"/>
              </a:ext>
            </a:extLst>
          </p:cNvPr>
          <p:cNvSpPr txBox="1"/>
          <p:nvPr/>
        </p:nvSpPr>
        <p:spPr>
          <a:xfrm>
            <a:off x="671116" y="4965522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Beschreibung aller gefundenen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ase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C94BCA46-4874-A765-810E-61324AF464EF}"/>
              </a:ext>
            </a:extLst>
          </p:cNvPr>
          <p:cNvSpPr txBox="1"/>
          <p:nvPr/>
        </p:nvSpPr>
        <p:spPr>
          <a:xfrm>
            <a:off x="671116" y="5299675"/>
            <a:ext cx="4924341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Bewertung / Gewichtung der gefundenen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ase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16713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gesamte Datensatz wird als Trainingsdatensatz verwend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satz für das Artefakt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8EC5B7C8-2ACC-6064-B835-7E97525ED89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778" y="1552575"/>
            <a:ext cx="10554443" cy="466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9666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22F10C4-5C7B-EB1B-6862-AE72076F0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2647985"/>
            <a:ext cx="11157745" cy="1562031"/>
          </a:xfrm>
        </p:spPr>
        <p:txBody>
          <a:bodyPr/>
          <a:lstStyle/>
          <a:p>
            <a:r>
              <a:rPr lang="de-DE" dirty="0"/>
              <a:t>Vielen Dank für eure </a:t>
            </a:r>
          </a:p>
          <a:p>
            <a:r>
              <a:rPr lang="de-DE" dirty="0"/>
              <a:t>Aufmerksamke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982CCC3-22A8-43D8-9D7F-0A6E2AC8C33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342688" y="6634163"/>
            <a:ext cx="849312" cy="123825"/>
          </a:xfrm>
        </p:spPr>
        <p:txBody>
          <a:bodyPr/>
          <a:lstStyle/>
          <a:p>
            <a:fld id="{974F31EF-6EA6-4A24-8992-69DC7A69151C}" type="datetime4">
              <a:rPr lang="de-DE" smtClean="0"/>
              <a:t>14. Dezember 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E068204-A6FE-F4ED-690E-22872D79D6E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634163"/>
            <a:ext cx="9574213" cy="123825"/>
          </a:xfrm>
        </p:spPr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11C3A7-7FEE-011D-55D5-B3A80CEF08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98325" y="6634163"/>
            <a:ext cx="193675" cy="123825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11267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96334d9f-9ba8-4fb0-901f-f28b51da46b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U - Rechts- und Wirtschaftswissenschaftliche Fakultät">
  <a:themeElements>
    <a:clrScheme name="Benutzerdefiniert 2">
      <a:dk1>
        <a:sysClr val="windowText" lastClr="000000"/>
      </a:dk1>
      <a:lt1>
        <a:srgbClr val="FFFFFF"/>
      </a:lt1>
      <a:dk2>
        <a:srgbClr val="C50F3C"/>
      </a:dk2>
      <a:lt2>
        <a:srgbClr val="FFFFFF"/>
      </a:lt2>
      <a:accent1>
        <a:srgbClr val="C7C7C7"/>
      </a:accent1>
      <a:accent2>
        <a:srgbClr val="971B2F"/>
      </a:accent2>
      <a:accent3>
        <a:srgbClr val="C50F3C"/>
      </a:accent3>
      <a:accent4>
        <a:srgbClr val="EBCCB7"/>
      </a:accent4>
      <a:accent5>
        <a:srgbClr val="004A9F"/>
      </a:accent5>
      <a:accent6>
        <a:srgbClr val="04316A"/>
      </a:accent6>
      <a:hlink>
        <a:srgbClr val="971B2F"/>
      </a:hlink>
      <a:folHlink>
        <a:srgbClr val="000000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80000" tIns="180000" rIns="180000" bIns="180000" rtlCol="0" anchor="ctr"/>
      <a:lstStyle>
        <a:defPPr marL="0" marR="0" indent="0" algn="ctr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3</Words>
  <Application>Microsoft Office PowerPoint</Application>
  <PresentationFormat>Breitbild</PresentationFormat>
  <Paragraphs>56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3" baseType="lpstr">
      <vt:lpstr>Arial</vt:lpstr>
      <vt:lpstr>Calibri</vt:lpstr>
      <vt:lpstr>Symbol</vt:lpstr>
      <vt:lpstr>FAU - Rechts- und Wirtschaftswissenschaftliche Fakultät</vt:lpstr>
      <vt:lpstr>think-cell Folie</vt:lpstr>
      <vt:lpstr>Zwischenpräsentation Team 6</vt:lpstr>
      <vt:lpstr>Agenda</vt:lpstr>
      <vt:lpstr>Artefakt</vt:lpstr>
      <vt:lpstr>Wir entwickeln für unsere Forschungsfrage ein Artefakt</vt:lpstr>
      <vt:lpstr>Es müssen Metainformationen über die Daten übergeben werden</vt:lpstr>
      <vt:lpstr>Es gibt zwei mögliche Outputs</vt:lpstr>
      <vt:lpstr>Der gesamte Datensatz wird als Trainingsdatensatz verwendet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2-02T15:51:55Z</dcterms:created>
  <dcterms:modified xsi:type="dcterms:W3CDTF">2022-12-14T18:38:35Z</dcterms:modified>
</cp:coreProperties>
</file>